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5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FFFF"/>
    <a:srgbClr val="D9D9D9"/>
    <a:srgbClr val="FFF2CC"/>
    <a:srgbClr val="FF7E83"/>
    <a:srgbClr val="73797C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75" d="100"/>
          <a:sy n="175" d="100"/>
        </p:scale>
        <p:origin x="858" y="150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20/10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20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20/10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20/10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8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="" xmlns:a16="http://schemas.microsoft.com/office/drawing/2014/main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20/10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391886"/>
            <a:ext cx="97971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solidFill>
                  <a:schemeClr val="bg2"/>
                </a:solidFill>
              </a:rPr>
              <a:t>INDE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08214" y="1404257"/>
            <a:ext cx="9873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717912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chemeClr val="bg1"/>
                </a:solidFill>
              </a:rPr>
              <a:t>Titolo</a:t>
            </a:r>
            <a:endParaRPr lang="en-GB" sz="2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519</TotalTime>
  <Words>8</Words>
  <Application>Microsoft Office PowerPoint</Application>
  <PresentationFormat>Custom</PresentationFormat>
  <Paragraphs>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18</cp:revision>
  <cp:lastPrinted>2017-08-08T07:27:09Z</cp:lastPrinted>
  <dcterms:created xsi:type="dcterms:W3CDTF">2015-06-10T12:48:40Z</dcterms:created>
  <dcterms:modified xsi:type="dcterms:W3CDTF">2025-10-20T06:32:22Z</dcterms:modified>
</cp:coreProperties>
</file>